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5"/>
  </p:notesMasterIdLst>
  <p:handoutMasterIdLst>
    <p:handoutMasterId r:id="rId26"/>
  </p:handoutMasterIdLst>
  <p:sldIdLst>
    <p:sldId id="388" r:id="rId5"/>
    <p:sldId id="386" r:id="rId6"/>
    <p:sldId id="395" r:id="rId7"/>
    <p:sldId id="396" r:id="rId8"/>
    <p:sldId id="415" r:id="rId9"/>
    <p:sldId id="423" r:id="rId10"/>
    <p:sldId id="417" r:id="rId11"/>
    <p:sldId id="418" r:id="rId12"/>
    <p:sldId id="419" r:id="rId13"/>
    <p:sldId id="397" r:id="rId14"/>
    <p:sldId id="398" r:id="rId15"/>
    <p:sldId id="399" r:id="rId16"/>
    <p:sldId id="424" r:id="rId17"/>
    <p:sldId id="425" r:id="rId18"/>
    <p:sldId id="421" r:id="rId19"/>
    <p:sldId id="422" r:id="rId20"/>
    <p:sldId id="426" r:id="rId21"/>
    <p:sldId id="387" r:id="rId22"/>
    <p:sldId id="406" r:id="rId23"/>
    <p:sldId id="336" r:id="rId24"/>
  </p:sldIdLst>
  <p:sldSz cx="9144000" cy="5143500" type="screen16x9"/>
  <p:notesSz cx="6858000" cy="9144000"/>
  <p:embeddedFontLst>
    <p:embeddedFont>
      <p:font typeface="HP Simplified" panose="020B0604020202020204" charset="0"/>
      <p:regular r:id="rId27"/>
      <p:bold r:id="rId28"/>
      <p:italic r:id="rId29"/>
      <p:boldItalic r:id="rId30"/>
    </p:embeddedFont>
    <p:embeddedFont>
      <p:font typeface="Futura Hv" panose="020B0702020204020204" charset="0"/>
      <p:regular r:id="rId31"/>
    </p:embeddedFont>
    <p:embeddedFont>
      <p:font typeface="Tahoma" panose="020B0604030504040204" pitchFamily="34" charset="0"/>
      <p:regular r:id="rId32"/>
      <p:bold r:id="rId33"/>
    </p:embeddedFont>
    <p:embeddedFont>
      <p:font typeface="Lucida Grande" panose="020B0604020202020204" charset="0"/>
      <p:regular r:id="rId34"/>
      <p:bold r:id="rId35"/>
      <p:italic r:id="rId36"/>
      <p:boldItalic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Futura Bk" panose="020B0502020204020303" charset="0"/>
      <p:regular r:id="rId42"/>
      <p:bold r:id="rId43"/>
      <p:italic r:id="rId44"/>
    </p:embeddedFont>
  </p:embeddedFontLst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0A4EE"/>
    <a:srgbClr val="B9B8BB"/>
    <a:srgbClr val="01B0FF"/>
    <a:srgbClr val="0C559A"/>
    <a:srgbClr val="1A5D9D"/>
    <a:srgbClr val="0D5297"/>
    <a:srgbClr val="1098D2"/>
    <a:srgbClr val="FAAF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8" d="100"/>
          <a:sy n="98" d="100"/>
        </p:scale>
        <p:origin x="438" y="84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9" Type="http://schemas.openxmlformats.org/officeDocument/2006/relationships/font" Target="fonts/font13.fntdata"/><Relationship Id="rId21" Type="http://schemas.openxmlformats.org/officeDocument/2006/relationships/slide" Target="slides/slide17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3.fntdata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5.fntdata"/><Relationship Id="rId44" Type="http://schemas.openxmlformats.org/officeDocument/2006/relationships/font" Target="fonts/font1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6.xml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8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8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data-warehousing-and-bi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0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7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0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368203"/>
            <a:ext cx="9144000" cy="99507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Mastering Data Warehousing and Business Intelligence</a:t>
            </a:r>
            <a:endParaRPr lang="en-US" sz="2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9032" y="726784"/>
            <a:ext cx="2819400" cy="256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a Data </a:t>
            </a:r>
            <a:r>
              <a:rPr lang="en-US" dirty="0">
                <a:solidFill>
                  <a:srgbClr val="262626"/>
                </a:solidFill>
              </a:rPr>
              <a:t>W</a:t>
            </a:r>
            <a:r>
              <a:rPr lang="en-US" dirty="0" smtClean="0">
                <a:solidFill>
                  <a:srgbClr val="262626"/>
                </a:solidFill>
              </a:rPr>
              <a:t>arehouse is good at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4204" y="1721796"/>
            <a:ext cx="7934929" cy="340519"/>
          </a:xfrm>
          <a:prstGeom prst="round2DiagRect">
            <a:avLst/>
          </a:prstGeom>
          <a:noFill/>
          <a:ln w="28575">
            <a:solidFill>
              <a:srgbClr val="00B0F0"/>
            </a:solidFill>
          </a:ln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ong others, 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 </a:t>
            </a: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house is the foundation for a successful business intelligence program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29300" y="2159540"/>
            <a:ext cx="2560188" cy="574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ata Warehouse Institute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tdwi.org</a:t>
            </a:r>
          </a:p>
        </p:txBody>
      </p:sp>
    </p:spTree>
    <p:extLst>
      <p:ext uri="{BB962C8B-B14F-4D97-AF65-F5344CB8AC3E}">
        <p14:creationId xmlns:p14="http://schemas.microsoft.com/office/powerpoint/2010/main" val="9396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2" y="96838"/>
            <a:ext cx="8550829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Business Intelligence (BI)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2864" y="729390"/>
            <a:ext cx="6321136" cy="387927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91831" y="1138136"/>
            <a:ext cx="26459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 is 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 of tools and techniques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ables analysis of information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improves business decisions </a:t>
            </a:r>
          </a:p>
        </p:txBody>
      </p:sp>
    </p:spTree>
    <p:extLst>
      <p:ext uri="{BB962C8B-B14F-4D97-AF65-F5344CB8AC3E}">
        <p14:creationId xmlns:p14="http://schemas.microsoft.com/office/powerpoint/2010/main" val="247601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Applications of BI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80437" y="1459150"/>
            <a:ext cx="2437206" cy="16722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dgeting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ource Allocation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ncial Modeling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etitive Intelligence 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 and many more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2842" y="904672"/>
            <a:ext cx="47913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s of business intelligence includes the following</a:t>
            </a:r>
          </a:p>
        </p:txBody>
      </p:sp>
    </p:spTree>
    <p:extLst>
      <p:ext uri="{BB962C8B-B14F-4D97-AF65-F5344CB8AC3E}">
        <p14:creationId xmlns:p14="http://schemas.microsoft.com/office/powerpoint/2010/main" val="73260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ata Warehousing and BI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3935" y="920643"/>
            <a:ext cx="783731" cy="3048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130311" y="779865"/>
            <a:ext cx="4540980" cy="3791217"/>
            <a:chOff x="2116686" y="838231"/>
            <a:chExt cx="4540980" cy="379121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16686" y="856140"/>
              <a:ext cx="4540980" cy="3773308"/>
            </a:xfrm>
            <a:prstGeom prst="rect">
              <a:avLst/>
            </a:prstGeom>
          </p:spPr>
        </p:pic>
        <p:grpSp>
          <p:nvGrpSpPr>
            <p:cNvPr id="13" name="Group 12"/>
            <p:cNvGrpSpPr/>
            <p:nvPr/>
          </p:nvGrpSpPr>
          <p:grpSpPr>
            <a:xfrm>
              <a:off x="2116686" y="838231"/>
              <a:ext cx="4477772" cy="316977"/>
              <a:chOff x="2116686" y="838231"/>
              <a:chExt cx="4477772" cy="316977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116686" y="856140"/>
                <a:ext cx="1025347" cy="255802"/>
              </a:xfrm>
              <a:prstGeom prst="rect">
                <a:avLst/>
              </a:prstGeom>
            </p:spPr>
          </p:pic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56584" y="888471"/>
                <a:ext cx="724001" cy="247685"/>
              </a:xfrm>
              <a:prstGeom prst="rect">
                <a:avLst/>
              </a:prstGeom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60418" y="838231"/>
                <a:ext cx="646434" cy="286488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37141" y="888471"/>
                <a:ext cx="657317" cy="266737"/>
              </a:xfrm>
              <a:prstGeom prst="rect">
                <a:avLst/>
              </a:prstGeom>
            </p:spPr>
          </p:pic>
        </p:grp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1602" y="830105"/>
            <a:ext cx="561975" cy="35242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85395" y="2213662"/>
            <a:ext cx="359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Warehousing and BI go hand in hand</a:t>
            </a:r>
          </a:p>
        </p:txBody>
      </p:sp>
    </p:spTree>
    <p:extLst>
      <p:ext uri="{BB962C8B-B14F-4D97-AF65-F5344CB8AC3E}">
        <p14:creationId xmlns:p14="http://schemas.microsoft.com/office/powerpoint/2010/main" val="299212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look at Data Warehouse and BI Tools</a:t>
            </a:r>
            <a:endParaRPr lang="en-US" sz="3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1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1657" y="180761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CA ERwin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8439" y="1060314"/>
            <a:ext cx="378405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 ERwin provides a collaborative data modeling environment to manage enterprise data through an intuitive, graphical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face</a:t>
            </a:r>
          </a:p>
          <a:p>
            <a:pPr defTabSz="430213">
              <a:spcAft>
                <a:spcPts val="400"/>
              </a:spcAft>
              <a:buSzPct val="100000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 ERwin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bines both BI and Data Warehousing tool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620" y="807396"/>
            <a:ext cx="4953000" cy="371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34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1657" y="180761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Features of CA ERwin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978" y="767580"/>
            <a:ext cx="5975488" cy="39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21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1657" y="180761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Talend Open Studio (TOS)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206" y="756288"/>
            <a:ext cx="6396228" cy="386438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58932" y="1001949"/>
            <a:ext cx="2282274" cy="2718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lend Open Studio (TOS)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n source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e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o use version of Talend for Data Integration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S is well suited for ETL (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tract, transform, load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tasks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0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447372" y="4650261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nds-On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985" y="162939"/>
            <a:ext cx="7801682" cy="442912"/>
          </a:xfrm>
        </p:spPr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Survey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7" y="3129498"/>
            <a:ext cx="3457575" cy="4667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590" y="903383"/>
            <a:ext cx="8637224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It helps us to make your experience better!</a:t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err="1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67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384186" y="764676"/>
            <a:ext cx="8278244" cy="3191082"/>
          </a:xfrm>
        </p:spPr>
        <p:txBody>
          <a:bodyPr/>
          <a:lstStyle/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What is Data Warehousing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Business Intelligence (BI)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lation between Data Warehousing and BI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 look at Data Warehousing and BI tools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nds-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 …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Data is everywher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17562" y="1032923"/>
            <a:ext cx="82081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is everywhere yet …</a:t>
            </a: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3317" y="1547851"/>
            <a:ext cx="7560531" cy="21749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can’t find the data I need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data is scattered over many versions with subtle differences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can’t understand the data I found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data is not well documented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can’t use the data I found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data needs to be transformed from one form to other  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endParaRPr lang="en-US" sz="1400" dirty="0" err="1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02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y care about data ?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166" y="1398518"/>
            <a:ext cx="2903371" cy="2903371"/>
          </a:xfrm>
          <a:prstGeom prst="rect">
            <a:avLst/>
          </a:prstGeom>
        </p:spPr>
      </p:pic>
      <p:sp>
        <p:nvSpPr>
          <p:cNvPr id="4" name="Oval Callout 3"/>
          <p:cNvSpPr/>
          <p:nvPr/>
        </p:nvSpPr>
        <p:spPr>
          <a:xfrm>
            <a:off x="4889367" y="807396"/>
            <a:ext cx="1589254" cy="1439693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care about data so much ?</a:t>
            </a:r>
            <a:endParaRPr 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53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Making Decisions with data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7562" y="1032923"/>
            <a:ext cx="8208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s making decisions 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cision made without considering data is simply a guess </a:t>
            </a:r>
            <a:endParaRPr lang="en-US" sz="14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33" y="1482287"/>
            <a:ext cx="4731421" cy="295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86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Insights from data</a:t>
            </a:r>
            <a:endParaRPr lang="en-IN" dirty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936" y="2082550"/>
            <a:ext cx="1863459" cy="123131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029509" y="3086908"/>
            <a:ext cx="1917972" cy="136270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mpact will new products have on revenue ?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6541850" y="3086907"/>
            <a:ext cx="1917972" cy="136270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product have been the biggest success ?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029509" y="866176"/>
            <a:ext cx="1917972" cy="136270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went wrong ?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43527" y="895773"/>
            <a:ext cx="1917972" cy="136270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can be done to improve the quality ?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4" name="Straight Arrow Connector 13"/>
          <p:cNvCxnSpPr>
            <a:stCxn id="11" idx="6"/>
            <a:endCxn id="4" idx="1"/>
          </p:cNvCxnSpPr>
          <p:nvPr/>
        </p:nvCxnSpPr>
        <p:spPr>
          <a:xfrm>
            <a:off x="2947481" y="1547528"/>
            <a:ext cx="865455" cy="1150679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8" idx="6"/>
            <a:endCxn id="4" idx="1"/>
          </p:cNvCxnSpPr>
          <p:nvPr/>
        </p:nvCxnSpPr>
        <p:spPr>
          <a:xfrm flipV="1">
            <a:off x="2947481" y="2698207"/>
            <a:ext cx="865455" cy="1070053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2" idx="2"/>
            <a:endCxn id="4" idx="3"/>
          </p:cNvCxnSpPr>
          <p:nvPr/>
        </p:nvCxnSpPr>
        <p:spPr>
          <a:xfrm flipH="1">
            <a:off x="5676395" y="1577125"/>
            <a:ext cx="767132" cy="1121082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0" idx="2"/>
            <a:endCxn id="4" idx="3"/>
          </p:cNvCxnSpPr>
          <p:nvPr/>
        </p:nvCxnSpPr>
        <p:spPr>
          <a:xfrm flipH="1" flipV="1">
            <a:off x="5676395" y="2698207"/>
            <a:ext cx="865455" cy="1070052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41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ere data resides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7655" y="823095"/>
            <a:ext cx="86363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is mostly stored in Databases or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 Warehouses</a:t>
            </a:r>
            <a:endParaRPr lang="en-US" sz="140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898" y="1700076"/>
            <a:ext cx="2903371" cy="2903371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5268746" y="1215957"/>
            <a:ext cx="1589254" cy="1439693"/>
          </a:xfrm>
          <a:prstGeom prst="wedgeEllipseCallou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’s the difference?</a:t>
            </a:r>
            <a:endParaRPr 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85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Database Vs. Data Warehouse</a:t>
            </a:r>
            <a:endParaRPr lang="en-IN" dirty="0">
              <a:solidFill>
                <a:srgbClr val="262626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294050"/>
              </p:ext>
            </p:extLst>
          </p:nvPr>
        </p:nvGraphicFramePr>
        <p:xfrm>
          <a:off x="718987" y="1081098"/>
          <a:ext cx="7672119" cy="214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7373"/>
                <a:gridCol w="2557373"/>
                <a:gridCol w="2557373"/>
              </a:tblGrid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base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 Warehouse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urpose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 retrieval,</a:t>
                      </a:r>
                      <a:r>
                        <a:rPr lang="en-US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pdating and management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 analysis and decision making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LTP</a:t>
                      </a:r>
                      <a:r>
                        <a:rPr lang="en-US" sz="14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Online Transaction Processing)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porting and OLAP (Online Analytical Processing)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ormat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rmalized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normalized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ime Frame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urrent/Real-Time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istorical</a:t>
                      </a:r>
                      <a:endParaRPr lang="en-US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988468" y="3247589"/>
            <a:ext cx="7155870" cy="1175942"/>
            <a:chOff x="5975022" y="864313"/>
            <a:chExt cx="2748338" cy="1175942"/>
          </a:xfrm>
        </p:grpSpPr>
        <p:grpSp>
          <p:nvGrpSpPr>
            <p:cNvPr id="15" name="Group 14"/>
            <p:cNvGrpSpPr/>
            <p:nvPr/>
          </p:nvGrpSpPr>
          <p:grpSpPr>
            <a:xfrm>
              <a:off x="5975022" y="864313"/>
              <a:ext cx="2739614" cy="1175942"/>
              <a:chOff x="6431284" y="1244400"/>
              <a:chExt cx="2739614" cy="1175942"/>
            </a:xfrm>
          </p:grpSpPr>
          <p:grpSp>
            <p:nvGrpSpPr>
              <p:cNvPr id="17" name="Group 16"/>
              <p:cNvGrpSpPr/>
              <p:nvPr/>
            </p:nvGrpSpPr>
            <p:grpSpPr>
              <a:xfrm>
                <a:off x="6431284" y="1595171"/>
                <a:ext cx="2739614" cy="825171"/>
                <a:chOff x="5246255" y="1066757"/>
                <a:chExt cx="2340480" cy="1800858"/>
              </a:xfrm>
            </p:grpSpPr>
            <p:sp>
              <p:nvSpPr>
                <p:cNvPr id="19" name="Folded Corner 18"/>
                <p:cNvSpPr/>
                <p:nvPr/>
              </p:nvSpPr>
              <p:spPr>
                <a:xfrm>
                  <a:off x="5246255" y="1066757"/>
                  <a:ext cx="2340480" cy="1800858"/>
                </a:xfrm>
                <a:prstGeom prst="foldedCorner">
                  <a:avLst/>
                </a:prstGeom>
                <a:solidFill>
                  <a:srgbClr val="FFFFCC"/>
                </a:solidFill>
                <a:ln>
                  <a:solidFill>
                    <a:srgbClr val="FFFF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5369000" y="1589443"/>
                  <a:ext cx="1934359" cy="6045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endParaRPr lang="en-IN" sz="1200" dirty="0">
                    <a:solidFill>
                      <a:srgbClr val="0070C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p:grpSp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35406" y="1244400"/>
                <a:ext cx="265685" cy="639194"/>
              </a:xfrm>
              <a:prstGeom prst="rect">
                <a:avLst/>
              </a:prstGeom>
            </p:spPr>
          </p:pic>
        </p:grpSp>
        <p:sp>
          <p:nvSpPr>
            <p:cNvPr id="16" name="Rectangle 15"/>
            <p:cNvSpPr/>
            <p:nvPr/>
          </p:nvSpPr>
          <p:spPr>
            <a:xfrm>
              <a:off x="5975022" y="1388010"/>
              <a:ext cx="274833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te that you can use a database as a data warehouse. It depends </a:t>
              </a:r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n, for which purpose you have design </a:t>
              </a:r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database</a:t>
              </a:r>
              <a:endParaRPr lang="en-US" sz="1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780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685783"/>
            <a:r>
              <a:rPr lang="en-US" dirty="0" smtClean="0">
                <a:solidFill>
                  <a:srgbClr val="262626"/>
                </a:solidFill>
              </a:rPr>
              <a:t>What is Data Warehousing ?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45379" y="1301903"/>
            <a:ext cx="6617908" cy="578882"/>
          </a:xfrm>
          <a:prstGeom prst="round2Diag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 of transforming data into information </a:t>
            </a:r>
            <a:r>
              <a:rPr lang="en-US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making it available in a timely manner to make a difference</a:t>
            </a:r>
          </a:p>
        </p:txBody>
      </p:sp>
      <p:sp>
        <p:nvSpPr>
          <p:cNvPr id="4" name="Rectangle 3"/>
          <p:cNvSpPr/>
          <p:nvPr/>
        </p:nvSpPr>
        <p:spPr>
          <a:xfrm>
            <a:off x="1316334" y="2361363"/>
            <a:ext cx="1376624" cy="1497204"/>
          </a:xfrm>
          <a:prstGeom prst="rect">
            <a:avLst/>
          </a:prstGeom>
          <a:solidFill>
            <a:srgbClr val="37C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598984" y="2361363"/>
            <a:ext cx="1376624" cy="1497204"/>
          </a:xfrm>
          <a:prstGeom prst="rect">
            <a:avLst/>
          </a:prstGeom>
          <a:solidFill>
            <a:srgbClr val="37C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881635" y="2361363"/>
            <a:ext cx="1376624" cy="1497204"/>
          </a:xfrm>
          <a:prstGeom prst="rect">
            <a:avLst/>
          </a:prstGeom>
          <a:solidFill>
            <a:srgbClr val="37C1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formation</a:t>
            </a:r>
            <a:endParaRPr lang="en-US" dirty="0"/>
          </a:p>
        </p:txBody>
      </p:sp>
      <p:sp>
        <p:nvSpPr>
          <p:cNvPr id="5" name="Right Arrow 4"/>
          <p:cNvSpPr/>
          <p:nvPr/>
        </p:nvSpPr>
        <p:spPr>
          <a:xfrm>
            <a:off x="2692958" y="2956727"/>
            <a:ext cx="906026" cy="30647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ight Arrow 20"/>
          <p:cNvSpPr/>
          <p:nvPr/>
        </p:nvSpPr>
        <p:spPr>
          <a:xfrm>
            <a:off x="4975608" y="2956726"/>
            <a:ext cx="906026" cy="30647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96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41</TotalTime>
  <Words>484</Words>
  <Application>Microsoft Office PowerPoint</Application>
  <PresentationFormat>On-screen Show (16:9)</PresentationFormat>
  <Paragraphs>84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HP Simplified</vt:lpstr>
      <vt:lpstr>Futura Hv</vt:lpstr>
      <vt:lpstr>Tahoma</vt:lpstr>
      <vt:lpstr>Lucida Grande</vt:lpstr>
      <vt:lpstr>Calibri</vt:lpstr>
      <vt:lpstr>Courier New</vt:lpstr>
      <vt:lpstr>Wingdings</vt:lpstr>
      <vt:lpstr>Arial</vt:lpstr>
      <vt:lpstr>Futura Bk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tab Alam</dc:creator>
  <cp:lastModifiedBy>Mahtab Alam</cp:lastModifiedBy>
  <cp:revision>364</cp:revision>
  <cp:lastPrinted>2012-04-13T15:38:33Z</cp:lastPrinted>
  <dcterms:created xsi:type="dcterms:W3CDTF">2012-05-02T14:03:12Z</dcterms:created>
  <dcterms:modified xsi:type="dcterms:W3CDTF">2015-10-18T13:23:11Z</dcterms:modified>
</cp:coreProperties>
</file>